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3794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577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QRbsmbr4HFM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6EFCB012-4857-49B8-BEAA-E09BD57CA4E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79" t="1327" r="16194" b="1327"/>
          <a:stretch/>
        </p:blipFill>
        <p:spPr>
          <a:xfrm>
            <a:off x="6934200" y="1371599"/>
            <a:ext cx="6121400" cy="5147555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562726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4 Februar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Halle Berry, Michael Pena, Patrick Wilson, Donald Sutherland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oland Emmerich (</a:t>
            </a:r>
            <a:r>
              <a:rPr lang="en-US" i="1" dirty="0">
                <a:solidFill>
                  <a:schemeClr val="accent6"/>
                </a:solidFill>
              </a:rPr>
              <a:t>Independence Day, The Day After Tomorrow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Geostorm, Independence Da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oland Emmerich’s films have grossed billions at the global box offic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 Index: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51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 mysterious force knocks the Moon from its orbit around Earth and sends it hurtling on a collision course with life as we know it. 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err="1"/>
              <a:t>moonfall</a:t>
            </a:r>
            <a:endParaRPr lang="en-US" sz="28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A new threat to Earth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52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8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moonfall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moonfall</dc:description>
  <cp:lastModifiedBy/>
  <cp:revision>1</cp:revision>
  <dcterms:created xsi:type="dcterms:W3CDTF">2019-03-25T11:13:20Z</dcterms:created>
  <dcterms:modified xsi:type="dcterms:W3CDTF">2022-01-19T16:59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moonfall</vt:lpwstr>
  </property>
</Properties>
</file>